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73" d="100"/>
          <a:sy n="73" d="100"/>
        </p:scale>
        <p:origin x="97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9</c:f>
              <c:numCache>
                <c:formatCode>m/d/yyyy</c:formatCode>
                <c:ptCount val="25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</c:numCache>
            </c:numRef>
          </c:cat>
          <c:val>
            <c:numRef>
              <c:f>Sheet1!$D$2:$D$259</c:f>
              <c:numCache>
                <c:formatCode>#,##0</c:formatCode>
                <c:ptCount val="258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2</c:v>
                </c:pt>
                <c:pt idx="69">
                  <c:v>608</c:v>
                </c:pt>
                <c:pt idx="70">
                  <c:v>603</c:v>
                </c:pt>
                <c:pt idx="71">
                  <c:v>580</c:v>
                </c:pt>
                <c:pt idx="72">
                  <c:v>556</c:v>
                </c:pt>
                <c:pt idx="73">
                  <c:v>544</c:v>
                </c:pt>
                <c:pt idx="74">
                  <c:v>525</c:v>
                </c:pt>
                <c:pt idx="75">
                  <c:v>515</c:v>
                </c:pt>
                <c:pt idx="76">
                  <c:v>501</c:v>
                </c:pt>
                <c:pt idx="77">
                  <c:v>469</c:v>
                </c:pt>
                <c:pt idx="78">
                  <c:v>470</c:v>
                </c:pt>
                <c:pt idx="79">
                  <c:v>464</c:v>
                </c:pt>
                <c:pt idx="80">
                  <c:v>444</c:v>
                </c:pt>
                <c:pt idx="81">
                  <c:v>449</c:v>
                </c:pt>
                <c:pt idx="82">
                  <c:v>446</c:v>
                </c:pt>
                <c:pt idx="83">
                  <c:v>436</c:v>
                </c:pt>
                <c:pt idx="84">
                  <c:v>404</c:v>
                </c:pt>
                <c:pt idx="85">
                  <c:v>388</c:v>
                </c:pt>
                <c:pt idx="86">
                  <c:v>393</c:v>
                </c:pt>
                <c:pt idx="87">
                  <c:v>366</c:v>
                </c:pt>
                <c:pt idx="88">
                  <c:v>355</c:v>
                </c:pt>
                <c:pt idx="89">
                  <c:v>338</c:v>
                </c:pt>
                <c:pt idx="90">
                  <c:v>346</c:v>
                </c:pt>
                <c:pt idx="91">
                  <c:v>318</c:v>
                </c:pt>
                <c:pt idx="92">
                  <c:v>304</c:v>
                </c:pt>
                <c:pt idx="93">
                  <c:v>292</c:v>
                </c:pt>
                <c:pt idx="94">
                  <c:v>290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1</c:v>
                </c:pt>
                <c:pt idx="152">
                  <c:v>528</c:v>
                </c:pt>
                <c:pt idx="153">
                  <c:v>546</c:v>
                </c:pt>
                <c:pt idx="154">
                  <c:v>530</c:v>
                </c:pt>
                <c:pt idx="155">
                  <c:v>530</c:v>
                </c:pt>
                <c:pt idx="156">
                  <c:v>547</c:v>
                </c:pt>
                <c:pt idx="157">
                  <c:v>540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1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1</c:v>
                </c:pt>
                <c:pt idx="188">
                  <c:v>919</c:v>
                </c:pt>
                <c:pt idx="189">
                  <c:v>908</c:v>
                </c:pt>
                <c:pt idx="190">
                  <c:v>915</c:v>
                </c:pt>
                <c:pt idx="191">
                  <c:v>916</c:v>
                </c:pt>
                <c:pt idx="192">
                  <c:v>926</c:v>
                </c:pt>
                <c:pt idx="193">
                  <c:v>910</c:v>
                </c:pt>
                <c:pt idx="194">
                  <c:v>936</c:v>
                </c:pt>
                <c:pt idx="195">
                  <c:v>941</c:v>
                </c:pt>
                <c:pt idx="196">
                  <c:v>927</c:v>
                </c:pt>
                <c:pt idx="197">
                  <c:v>925</c:v>
                </c:pt>
                <c:pt idx="198">
                  <c:v>951</c:v>
                </c:pt>
                <c:pt idx="199">
                  <c:v>943</c:v>
                </c:pt>
                <c:pt idx="200">
                  <c:v>937</c:v>
                </c:pt>
                <c:pt idx="201">
                  <c:v>932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7">
                  <c:v>877</c:v>
                </c:pt>
                <c:pt idx="208">
                  <c:v>862</c:v>
                </c:pt>
                <c:pt idx="209">
                  <c:v>866</c:v>
                </c:pt>
                <c:pt idx="210">
                  <c:v>839</c:v>
                </c:pt>
                <c:pt idx="211">
                  <c:v>811</c:v>
                </c:pt>
                <c:pt idx="212">
                  <c:v>788</c:v>
                </c:pt>
                <c:pt idx="213">
                  <c:v>761</c:v>
                </c:pt>
                <c:pt idx="214">
                  <c:v>724</c:v>
                </c:pt>
                <c:pt idx="215">
                  <c:v>713</c:v>
                </c:pt>
                <c:pt idx="216">
                  <c:v>709</c:v>
                </c:pt>
                <c:pt idx="217">
                  <c:v>730</c:v>
                </c:pt>
                <c:pt idx="218">
                  <c:v>705</c:v>
                </c:pt>
                <c:pt idx="219">
                  <c:v>671</c:v>
                </c:pt>
                <c:pt idx="220">
                  <c:v>628</c:v>
                </c:pt>
                <c:pt idx="221">
                  <c:v>605</c:v>
                </c:pt>
                <c:pt idx="222">
                  <c:v>606</c:v>
                </c:pt>
                <c:pt idx="223">
                  <c:v>597</c:v>
                </c:pt>
                <c:pt idx="224">
                  <c:v>574</c:v>
                </c:pt>
                <c:pt idx="225">
                  <c:v>541</c:v>
                </c:pt>
                <c:pt idx="226">
                  <c:v>523</c:v>
                </c:pt>
                <c:pt idx="227">
                  <c:v>518</c:v>
                </c:pt>
                <c:pt idx="228">
                  <c:v>490</c:v>
                </c:pt>
                <c:pt idx="229">
                  <c:v>495</c:v>
                </c:pt>
                <c:pt idx="230">
                  <c:v>492</c:v>
                </c:pt>
                <c:pt idx="231">
                  <c:v>475</c:v>
                </c:pt>
                <c:pt idx="232">
                  <c:v>463</c:v>
                </c:pt>
                <c:pt idx="233">
                  <c:v>417</c:v>
                </c:pt>
                <c:pt idx="234">
                  <c:v>400</c:v>
                </c:pt>
                <c:pt idx="235">
                  <c:v>376</c:v>
                </c:pt>
                <c:pt idx="236">
                  <c:v>370</c:v>
                </c:pt>
                <c:pt idx="237">
                  <c:v>360</c:v>
                </c:pt>
                <c:pt idx="238">
                  <c:v>358</c:v>
                </c:pt>
                <c:pt idx="239">
                  <c:v>332</c:v>
                </c:pt>
                <c:pt idx="240">
                  <c:v>302</c:v>
                </c:pt>
                <c:pt idx="241">
                  <c:v>277</c:v>
                </c:pt>
                <c:pt idx="242">
                  <c:v>262</c:v>
                </c:pt>
                <c:pt idx="243">
                  <c:v>268</c:v>
                </c:pt>
                <c:pt idx="244">
                  <c:v>265</c:v>
                </c:pt>
                <c:pt idx="245">
                  <c:v>254</c:v>
                </c:pt>
                <c:pt idx="246">
                  <c:v>236</c:v>
                </c:pt>
                <c:pt idx="247">
                  <c:v>220</c:v>
                </c:pt>
                <c:pt idx="248">
                  <c:v>204</c:v>
                </c:pt>
                <c:pt idx="249">
                  <c:v>187</c:v>
                </c:pt>
                <c:pt idx="250">
                  <c:v>186</c:v>
                </c:pt>
                <c:pt idx="251">
                  <c:v>188</c:v>
                </c:pt>
                <c:pt idx="252">
                  <c:v>167</c:v>
                </c:pt>
                <c:pt idx="253">
                  <c:v>154</c:v>
                </c:pt>
                <c:pt idx="254">
                  <c:v>150</c:v>
                </c:pt>
                <c:pt idx="255">
                  <c:v>131</c:v>
                </c:pt>
                <c:pt idx="256">
                  <c:v>121</c:v>
                </c:pt>
                <c:pt idx="257">
                  <c:v>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layout>
                <c:manualLayout>
                  <c:x val="-6.4755776393715121E-3"/>
                  <c:y val="-4.583055162334306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7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C11D-4C2F-96AD-66CF0CE2AC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9</c:f>
              <c:numCache>
                <c:formatCode>m/d/yyyy</c:formatCode>
                <c:ptCount val="25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</c:numCache>
            </c:numRef>
          </c:cat>
          <c:val>
            <c:numRef>
              <c:f>Sheet1!$B$2:$B$259</c:f>
              <c:numCache>
                <c:formatCode>#,##0</c:formatCode>
                <c:ptCount val="258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>
                  <c:v>657</c:v>
                </c:pt>
                <c:pt idx="244">
                  <c:v>642</c:v>
                </c:pt>
                <c:pt idx="245">
                  <c:v>617</c:v>
                </c:pt>
                <c:pt idx="246">
                  <c:v>625</c:v>
                </c:pt>
                <c:pt idx="247">
                  <c:v>645</c:v>
                </c:pt>
                <c:pt idx="248">
                  <c:v>650</c:v>
                </c:pt>
                <c:pt idx="249">
                  <c:v>639</c:v>
                </c:pt>
                <c:pt idx="250">
                  <c:v>643</c:v>
                </c:pt>
                <c:pt idx="251">
                  <c:v>651</c:v>
                </c:pt>
                <c:pt idx="252">
                  <c:v>663</c:v>
                </c:pt>
                <c:pt idx="253">
                  <c:v>669</c:v>
                </c:pt>
                <c:pt idx="254">
                  <c:v>662</c:v>
                </c:pt>
                <c:pt idx="255">
                  <c:v>673</c:v>
                </c:pt>
                <c:pt idx="256">
                  <c:v>669</c:v>
                </c:pt>
                <c:pt idx="257">
                  <c:v>6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9</c:f>
              <c:numCache>
                <c:formatCode>m/d/yyyy</c:formatCode>
                <c:ptCount val="25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</c:numCache>
            </c:numRef>
          </c:cat>
          <c:val>
            <c:numRef>
              <c:f>Sheet1!$C$2:$C$259</c:f>
              <c:numCache>
                <c:formatCode>General</c:formatCode>
                <c:ptCount val="25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9</c:f>
              <c:numCache>
                <c:formatCode>m/d/yyyy</c:formatCode>
                <c:ptCount val="25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</c:numCache>
            </c:numRef>
          </c:cat>
          <c:val>
            <c:numRef>
              <c:f>Sheet1!$D$2:$D$259</c:f>
              <c:numCache>
                <c:formatCode>#,##0</c:formatCode>
                <c:ptCount val="258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49</c:v>
                </c:pt>
                <c:pt idx="68">
                  <c:v>3353</c:v>
                </c:pt>
                <c:pt idx="69">
                  <c:v>3289</c:v>
                </c:pt>
                <c:pt idx="70">
                  <c:v>3194</c:v>
                </c:pt>
                <c:pt idx="71">
                  <c:v>2966</c:v>
                </c:pt>
                <c:pt idx="72">
                  <c:v>2889</c:v>
                </c:pt>
                <c:pt idx="73">
                  <c:v>2749</c:v>
                </c:pt>
                <c:pt idx="74">
                  <c:v>2629</c:v>
                </c:pt>
                <c:pt idx="75">
                  <c:v>2554</c:v>
                </c:pt>
                <c:pt idx="76">
                  <c:v>2560</c:v>
                </c:pt>
                <c:pt idx="77">
                  <c:v>2485</c:v>
                </c:pt>
                <c:pt idx="78">
                  <c:v>2442</c:v>
                </c:pt>
                <c:pt idx="79">
                  <c:v>2363</c:v>
                </c:pt>
                <c:pt idx="80">
                  <c:v>2266</c:v>
                </c:pt>
                <c:pt idx="81">
                  <c:v>2143</c:v>
                </c:pt>
                <c:pt idx="82">
                  <c:v>2128</c:v>
                </c:pt>
                <c:pt idx="83">
                  <c:v>2157</c:v>
                </c:pt>
                <c:pt idx="84">
                  <c:v>2096</c:v>
                </c:pt>
                <c:pt idx="85">
                  <c:v>2022</c:v>
                </c:pt>
                <c:pt idx="86">
                  <c:v>1932</c:v>
                </c:pt>
                <c:pt idx="87">
                  <c:v>1808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5</c:v>
                </c:pt>
                <c:pt idx="133">
                  <c:v>3043</c:v>
                </c:pt>
                <c:pt idx="134">
                  <c:v>2965</c:v>
                </c:pt>
                <c:pt idx="135">
                  <c:v>2924</c:v>
                </c:pt>
                <c:pt idx="136">
                  <c:v>2872</c:v>
                </c:pt>
                <c:pt idx="137">
                  <c:v>2757</c:v>
                </c:pt>
                <c:pt idx="138">
                  <c:v>2745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90</c:v>
                </c:pt>
                <c:pt idx="143">
                  <c:v>2555</c:v>
                </c:pt>
                <c:pt idx="144">
                  <c:v>2521</c:v>
                </c:pt>
                <c:pt idx="145">
                  <c:v>2522</c:v>
                </c:pt>
                <c:pt idx="146">
                  <c:v>2544</c:v>
                </c:pt>
                <c:pt idx="147">
                  <c:v>2526</c:v>
                </c:pt>
                <c:pt idx="148">
                  <c:v>2417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10</c:v>
                </c:pt>
                <c:pt idx="160">
                  <c:v>2473</c:v>
                </c:pt>
                <c:pt idx="161">
                  <c:v>2489</c:v>
                </c:pt>
                <c:pt idx="162">
                  <c:v>2420</c:v>
                </c:pt>
                <c:pt idx="163">
                  <c:v>2453</c:v>
                </c:pt>
                <c:pt idx="164">
                  <c:v>2405</c:v>
                </c:pt>
                <c:pt idx="165">
                  <c:v>2471</c:v>
                </c:pt>
                <c:pt idx="166">
                  <c:v>2589</c:v>
                </c:pt>
                <c:pt idx="167">
                  <c:v>2622</c:v>
                </c:pt>
                <c:pt idx="168">
                  <c:v>2652</c:v>
                </c:pt>
                <c:pt idx="169">
                  <c:v>2716</c:v>
                </c:pt>
                <c:pt idx="170">
                  <c:v>2756</c:v>
                </c:pt>
                <c:pt idx="171">
                  <c:v>2678</c:v>
                </c:pt>
                <c:pt idx="172">
                  <c:v>2686</c:v>
                </c:pt>
                <c:pt idx="173">
                  <c:v>2807</c:v>
                </c:pt>
                <c:pt idx="174">
                  <c:v>3000</c:v>
                </c:pt>
                <c:pt idx="175">
                  <c:v>3018</c:v>
                </c:pt>
                <c:pt idx="176">
                  <c:v>3029</c:v>
                </c:pt>
                <c:pt idx="177">
                  <c:v>3039</c:v>
                </c:pt>
                <c:pt idx="178">
                  <c:v>3125</c:v>
                </c:pt>
                <c:pt idx="179">
                  <c:v>3231</c:v>
                </c:pt>
                <c:pt idx="180">
                  <c:v>3369</c:v>
                </c:pt>
                <c:pt idx="181">
                  <c:v>3574</c:v>
                </c:pt>
                <c:pt idx="182">
                  <c:v>3618</c:v>
                </c:pt>
                <c:pt idx="183">
                  <c:v>3594</c:v>
                </c:pt>
                <c:pt idx="184">
                  <c:v>3677</c:v>
                </c:pt>
                <c:pt idx="185">
                  <c:v>3706</c:v>
                </c:pt>
                <c:pt idx="186">
                  <c:v>3785</c:v>
                </c:pt>
                <c:pt idx="187">
                  <c:v>3874</c:v>
                </c:pt>
                <c:pt idx="188">
                  <c:v>3925</c:v>
                </c:pt>
                <c:pt idx="189">
                  <c:v>3940</c:v>
                </c:pt>
                <c:pt idx="190">
                  <c:v>3955</c:v>
                </c:pt>
                <c:pt idx="191">
                  <c:v>3923</c:v>
                </c:pt>
                <c:pt idx="192">
                  <c:v>3859</c:v>
                </c:pt>
                <c:pt idx="193">
                  <c:v>3972</c:v>
                </c:pt>
                <c:pt idx="194">
                  <c:v>4040</c:v>
                </c:pt>
                <c:pt idx="195">
                  <c:v>4183</c:v>
                </c:pt>
                <c:pt idx="196">
                  <c:v>4101</c:v>
                </c:pt>
                <c:pt idx="197">
                  <c:v>4022</c:v>
                </c:pt>
                <c:pt idx="198">
                  <c:v>3994</c:v>
                </c:pt>
                <c:pt idx="199">
                  <c:v>3792</c:v>
                </c:pt>
                <c:pt idx="200">
                  <c:v>3717</c:v>
                </c:pt>
                <c:pt idx="201">
                  <c:v>3794</c:v>
                </c:pt>
                <c:pt idx="202">
                  <c:v>3810</c:v>
                </c:pt>
                <c:pt idx="203">
                  <c:v>3681</c:v>
                </c:pt>
                <c:pt idx="204">
                  <c:v>3538</c:v>
                </c:pt>
                <c:pt idx="207">
                  <c:v>3355</c:v>
                </c:pt>
                <c:pt idx="208">
                  <c:v>3384</c:v>
                </c:pt>
                <c:pt idx="209">
                  <c:v>3357</c:v>
                </c:pt>
                <c:pt idx="210">
                  <c:v>3282</c:v>
                </c:pt>
                <c:pt idx="211">
                  <c:v>3146</c:v>
                </c:pt>
                <c:pt idx="212">
                  <c:v>2998</c:v>
                </c:pt>
                <c:pt idx="213">
                  <c:v>2812</c:v>
                </c:pt>
                <c:pt idx="214">
                  <c:v>2769</c:v>
                </c:pt>
                <c:pt idx="215">
                  <c:v>2830</c:v>
                </c:pt>
                <c:pt idx="216">
                  <c:v>2843</c:v>
                </c:pt>
                <c:pt idx="217">
                  <c:v>3041</c:v>
                </c:pt>
                <c:pt idx="218">
                  <c:v>2863</c:v>
                </c:pt>
                <c:pt idx="219">
                  <c:v>2685</c:v>
                </c:pt>
                <c:pt idx="220">
                  <c:v>2415</c:v>
                </c:pt>
                <c:pt idx="221">
                  <c:v>2319</c:v>
                </c:pt>
                <c:pt idx="222">
                  <c:v>2334</c:v>
                </c:pt>
                <c:pt idx="223">
                  <c:v>2330</c:v>
                </c:pt>
                <c:pt idx="224">
                  <c:v>2234</c:v>
                </c:pt>
                <c:pt idx="225">
                  <c:v>2104</c:v>
                </c:pt>
                <c:pt idx="226">
                  <c:v>1927</c:v>
                </c:pt>
                <c:pt idx="227">
                  <c:v>1780</c:v>
                </c:pt>
                <c:pt idx="228">
                  <c:v>1746</c:v>
                </c:pt>
                <c:pt idx="229">
                  <c:v>1753</c:v>
                </c:pt>
                <c:pt idx="230">
                  <c:v>1807</c:v>
                </c:pt>
                <c:pt idx="231">
                  <c:v>1705</c:v>
                </c:pt>
                <c:pt idx="232">
                  <c:v>1610</c:v>
                </c:pt>
                <c:pt idx="233">
                  <c:v>1522</c:v>
                </c:pt>
                <c:pt idx="234">
                  <c:v>1421</c:v>
                </c:pt>
                <c:pt idx="235">
                  <c:v>1352</c:v>
                </c:pt>
                <c:pt idx="236">
                  <c:v>1350</c:v>
                </c:pt>
                <c:pt idx="237">
                  <c:v>1298</c:v>
                </c:pt>
                <c:pt idx="238">
                  <c:v>1276</c:v>
                </c:pt>
                <c:pt idx="239">
                  <c:v>1235</c:v>
                </c:pt>
                <c:pt idx="240">
                  <c:v>1181</c:v>
                </c:pt>
                <c:pt idx="241">
                  <c:v>1134</c:v>
                </c:pt>
                <c:pt idx="242">
                  <c:v>1140</c:v>
                </c:pt>
                <c:pt idx="243">
                  <c:v>1133</c:v>
                </c:pt>
                <c:pt idx="244">
                  <c:v>1129</c:v>
                </c:pt>
                <c:pt idx="245">
                  <c:v>1058</c:v>
                </c:pt>
                <c:pt idx="246">
                  <c:v>995</c:v>
                </c:pt>
                <c:pt idx="247">
                  <c:v>921</c:v>
                </c:pt>
                <c:pt idx="248">
                  <c:v>854</c:v>
                </c:pt>
                <c:pt idx="249">
                  <c:v>812</c:v>
                </c:pt>
                <c:pt idx="250">
                  <c:v>817</c:v>
                </c:pt>
                <c:pt idx="251">
                  <c:v>777</c:v>
                </c:pt>
                <c:pt idx="252">
                  <c:v>728</c:v>
                </c:pt>
                <c:pt idx="253">
                  <c:v>658</c:v>
                </c:pt>
                <c:pt idx="254">
                  <c:v>631</c:v>
                </c:pt>
                <c:pt idx="255">
                  <c:v>606</c:v>
                </c:pt>
                <c:pt idx="256">
                  <c:v>587</c:v>
                </c:pt>
                <c:pt idx="257">
                  <c:v>5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36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C298-4E05-89A8-ADEE0AD207D9}"/>
                </c:ext>
              </c:extLst>
            </c:dLbl>
            <c:dLbl>
              <c:idx val="243"/>
              <c:layout>
                <c:manualLayout>
                  <c:x val="0"/>
                  <c:y val="-5.388685457762464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</a:t>
                    </a:r>
                    <a:r>
                      <a:rPr lang="en-US" baseline="0" dirty="0"/>
                      <a:t> 47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C298-4E05-89A8-ADEE0AD207D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9</c:f>
              <c:numCache>
                <c:formatCode>m/d/yyyy</c:formatCode>
                <c:ptCount val="25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</c:numCache>
            </c:numRef>
          </c:cat>
          <c:val>
            <c:numRef>
              <c:f>Sheet1!$B$2:$B$259</c:f>
              <c:numCache>
                <c:formatCode>#,##0</c:formatCode>
                <c:ptCount val="258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  <c:pt idx="254">
                  <c:v>6008</c:v>
                </c:pt>
                <c:pt idx="255">
                  <c:v>6344</c:v>
                </c:pt>
                <c:pt idx="256">
                  <c:v>6536</c:v>
                </c:pt>
                <c:pt idx="257">
                  <c:v>64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9</c:f>
              <c:numCache>
                <c:formatCode>m/d/yyyy</c:formatCode>
                <c:ptCount val="25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</c:numCache>
            </c:numRef>
          </c:cat>
          <c:val>
            <c:numRef>
              <c:f>Sheet1!$C$2:$C$259</c:f>
              <c:numCache>
                <c:formatCode>General</c:formatCode>
                <c:ptCount val="25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9</c:f>
              <c:numCache>
                <c:formatCode>m/d/yyyy</c:formatCode>
                <c:ptCount val="25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</c:numCache>
            </c:numRef>
          </c:cat>
          <c:val>
            <c:numRef>
              <c:f>Sheet1!$D$2:$D$259</c:f>
              <c:numCache>
                <c:formatCode>#,##0</c:formatCode>
                <c:ptCount val="25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8</c:v>
                </c:pt>
                <c:pt idx="232">
                  <c:v>20</c:v>
                </c:pt>
                <c:pt idx="233">
                  <c:v>21</c:v>
                </c:pt>
                <c:pt idx="234">
                  <c:v>19</c:v>
                </c:pt>
                <c:pt idx="235">
                  <c:v>17</c:v>
                </c:pt>
                <c:pt idx="236">
                  <c:v>15</c:v>
                </c:pt>
                <c:pt idx="237">
                  <c:v>14</c:v>
                </c:pt>
                <c:pt idx="238">
                  <c:v>17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>
                  <c:v>18</c:v>
                </c:pt>
                <c:pt idx="244">
                  <c:v>15</c:v>
                </c:pt>
                <c:pt idx="245">
                  <c:v>16</c:v>
                </c:pt>
                <c:pt idx="246">
                  <c:v>17</c:v>
                </c:pt>
                <c:pt idx="247">
                  <c:v>18</c:v>
                </c:pt>
                <c:pt idx="248">
                  <c:v>15</c:v>
                </c:pt>
                <c:pt idx="249">
                  <c:v>13</c:v>
                </c:pt>
                <c:pt idx="250">
                  <c:v>12</c:v>
                </c:pt>
                <c:pt idx="251">
                  <c:v>12</c:v>
                </c:pt>
                <c:pt idx="252">
                  <c:v>12</c:v>
                </c:pt>
                <c:pt idx="253">
                  <c:v>11</c:v>
                </c:pt>
                <c:pt idx="254">
                  <c:v>11</c:v>
                </c:pt>
                <c:pt idx="255">
                  <c:v>9</c:v>
                </c:pt>
                <c:pt idx="256">
                  <c:v>9</c:v>
                </c:pt>
                <c:pt idx="257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43"/>
              <c:layout>
                <c:manualLayout>
                  <c:x val="3.4837775464022197E-2"/>
                  <c:y val="-2.694342728881236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1F6A-4C81-AB36-021CE36F8D4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9</c:f>
              <c:numCache>
                <c:formatCode>m/d/yyyy</c:formatCode>
                <c:ptCount val="25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</c:numCache>
            </c:numRef>
          </c:cat>
          <c:val>
            <c:numRef>
              <c:f>Sheet1!$B$2:$B$259</c:f>
              <c:numCache>
                <c:formatCode>#,##0</c:formatCode>
                <c:ptCount val="258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>
                  <c:v>49</c:v>
                </c:pt>
                <c:pt idx="244">
                  <c:v>48</c:v>
                </c:pt>
                <c:pt idx="245">
                  <c:v>51</c:v>
                </c:pt>
                <c:pt idx="246">
                  <c:v>48</c:v>
                </c:pt>
                <c:pt idx="247">
                  <c:v>50</c:v>
                </c:pt>
                <c:pt idx="248">
                  <c:v>52</c:v>
                </c:pt>
                <c:pt idx="249">
                  <c:v>51</c:v>
                </c:pt>
                <c:pt idx="250">
                  <c:v>50</c:v>
                </c:pt>
                <c:pt idx="251">
                  <c:v>52</c:v>
                </c:pt>
                <c:pt idx="252">
                  <c:v>54</c:v>
                </c:pt>
                <c:pt idx="253">
                  <c:v>54</c:v>
                </c:pt>
                <c:pt idx="254">
                  <c:v>56</c:v>
                </c:pt>
                <c:pt idx="255">
                  <c:v>54</c:v>
                </c:pt>
                <c:pt idx="256">
                  <c:v>51</c:v>
                </c:pt>
                <c:pt idx="257">
                  <c:v>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9</c:f>
              <c:numCache>
                <c:formatCode>m/d/yyyy</c:formatCode>
                <c:ptCount val="25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</c:numCache>
            </c:numRef>
          </c:cat>
          <c:val>
            <c:numRef>
              <c:f>Sheet1!$C$2:$C$259</c:f>
              <c:numCache>
                <c:formatCode>General</c:formatCode>
                <c:ptCount val="25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9</c:f>
              <c:numCache>
                <c:formatCode>m/d/yyyy</c:formatCode>
                <c:ptCount val="25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</c:numCache>
            </c:numRef>
          </c:cat>
          <c:val>
            <c:numRef>
              <c:f>Sheet1!$D$2:$D$259</c:f>
              <c:numCache>
                <c:formatCode>#,##0</c:formatCode>
                <c:ptCount val="258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4</c:v>
                </c:pt>
                <c:pt idx="68">
                  <c:v>1165</c:v>
                </c:pt>
                <c:pt idx="69">
                  <c:v>1179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099</c:v>
                </c:pt>
                <c:pt idx="74">
                  <c:v>1067</c:v>
                </c:pt>
                <c:pt idx="75">
                  <c:v>1042</c:v>
                </c:pt>
                <c:pt idx="76">
                  <c:v>1036</c:v>
                </c:pt>
                <c:pt idx="77">
                  <c:v>992</c:v>
                </c:pt>
                <c:pt idx="78">
                  <c:v>1002</c:v>
                </c:pt>
                <c:pt idx="79">
                  <c:v>971</c:v>
                </c:pt>
                <c:pt idx="80">
                  <c:v>957</c:v>
                </c:pt>
                <c:pt idx="81">
                  <c:v>942</c:v>
                </c:pt>
                <c:pt idx="82">
                  <c:v>957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5</c:v>
                </c:pt>
                <c:pt idx="91">
                  <c:v>727</c:v>
                </c:pt>
                <c:pt idx="92">
                  <c:v>711</c:v>
                </c:pt>
                <c:pt idx="93">
                  <c:v>713</c:v>
                </c:pt>
                <c:pt idx="94">
                  <c:v>709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3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9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8</c:v>
                </c:pt>
                <c:pt idx="151">
                  <c:v>1021</c:v>
                </c:pt>
                <c:pt idx="152">
                  <c:v>1039</c:v>
                </c:pt>
                <c:pt idx="153">
                  <c:v>1078</c:v>
                </c:pt>
                <c:pt idx="154">
                  <c:v>1089</c:v>
                </c:pt>
                <c:pt idx="155">
                  <c:v>1076</c:v>
                </c:pt>
                <c:pt idx="156">
                  <c:v>1102</c:v>
                </c:pt>
                <c:pt idx="157">
                  <c:v>1088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0</c:v>
                </c:pt>
                <c:pt idx="165">
                  <c:v>1104</c:v>
                </c:pt>
                <c:pt idx="166">
                  <c:v>1145</c:v>
                </c:pt>
                <c:pt idx="167">
                  <c:v>1169</c:v>
                </c:pt>
                <c:pt idx="168">
                  <c:v>1212</c:v>
                </c:pt>
                <c:pt idx="169">
                  <c:v>1240</c:v>
                </c:pt>
                <c:pt idx="170">
                  <c:v>1266</c:v>
                </c:pt>
                <c:pt idx="171">
                  <c:v>1269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3</c:v>
                </c:pt>
                <c:pt idx="181">
                  <c:v>1586</c:v>
                </c:pt>
                <c:pt idx="182">
                  <c:v>1597</c:v>
                </c:pt>
                <c:pt idx="183">
                  <c:v>1624</c:v>
                </c:pt>
                <c:pt idx="184">
                  <c:v>1651</c:v>
                </c:pt>
                <c:pt idx="185">
                  <c:v>1671</c:v>
                </c:pt>
                <c:pt idx="186">
                  <c:v>1673</c:v>
                </c:pt>
                <c:pt idx="187">
                  <c:v>1676</c:v>
                </c:pt>
                <c:pt idx="188">
                  <c:v>1770</c:v>
                </c:pt>
                <c:pt idx="189">
                  <c:v>1798</c:v>
                </c:pt>
                <c:pt idx="190">
                  <c:v>1827</c:v>
                </c:pt>
                <c:pt idx="191">
                  <c:v>1817</c:v>
                </c:pt>
                <c:pt idx="192">
                  <c:v>1829</c:v>
                </c:pt>
                <c:pt idx="193">
                  <c:v>1778</c:v>
                </c:pt>
                <c:pt idx="194">
                  <c:v>1825</c:v>
                </c:pt>
                <c:pt idx="195">
                  <c:v>1882</c:v>
                </c:pt>
                <c:pt idx="196">
                  <c:v>1891</c:v>
                </c:pt>
                <c:pt idx="197">
                  <c:v>1859</c:v>
                </c:pt>
                <c:pt idx="198">
                  <c:v>1858</c:v>
                </c:pt>
                <c:pt idx="199">
                  <c:v>1817</c:v>
                </c:pt>
                <c:pt idx="200">
                  <c:v>1777</c:v>
                </c:pt>
                <c:pt idx="201">
                  <c:v>1801</c:v>
                </c:pt>
                <c:pt idx="202">
                  <c:v>1821</c:v>
                </c:pt>
                <c:pt idx="203">
                  <c:v>1774</c:v>
                </c:pt>
                <c:pt idx="204">
                  <c:v>1742</c:v>
                </c:pt>
                <c:pt idx="207">
                  <c:v>1642</c:v>
                </c:pt>
                <c:pt idx="208">
                  <c:v>1652</c:v>
                </c:pt>
                <c:pt idx="209">
                  <c:v>1662</c:v>
                </c:pt>
                <c:pt idx="210">
                  <c:v>1613</c:v>
                </c:pt>
                <c:pt idx="211">
                  <c:v>1553</c:v>
                </c:pt>
                <c:pt idx="212">
                  <c:v>1505</c:v>
                </c:pt>
                <c:pt idx="213">
                  <c:v>1424</c:v>
                </c:pt>
                <c:pt idx="214">
                  <c:v>1401</c:v>
                </c:pt>
                <c:pt idx="215">
                  <c:v>1379</c:v>
                </c:pt>
                <c:pt idx="216">
                  <c:v>1345</c:v>
                </c:pt>
                <c:pt idx="217">
                  <c:v>1395</c:v>
                </c:pt>
                <c:pt idx="218">
                  <c:v>1362</c:v>
                </c:pt>
                <c:pt idx="219">
                  <c:v>1315</c:v>
                </c:pt>
                <c:pt idx="220">
                  <c:v>1238</c:v>
                </c:pt>
                <c:pt idx="221">
                  <c:v>1220</c:v>
                </c:pt>
                <c:pt idx="222">
                  <c:v>1202</c:v>
                </c:pt>
                <c:pt idx="223">
                  <c:v>1188</c:v>
                </c:pt>
                <c:pt idx="224">
                  <c:v>1159</c:v>
                </c:pt>
                <c:pt idx="225">
                  <c:v>1115</c:v>
                </c:pt>
                <c:pt idx="226">
                  <c:v>1037</c:v>
                </c:pt>
                <c:pt idx="227">
                  <c:v>1015</c:v>
                </c:pt>
                <c:pt idx="228">
                  <c:v>975</c:v>
                </c:pt>
                <c:pt idx="229">
                  <c:v>977</c:v>
                </c:pt>
                <c:pt idx="230">
                  <c:v>995</c:v>
                </c:pt>
                <c:pt idx="231">
                  <c:v>943</c:v>
                </c:pt>
                <c:pt idx="232">
                  <c:v>908</c:v>
                </c:pt>
                <c:pt idx="233">
                  <c:v>834</c:v>
                </c:pt>
                <c:pt idx="234">
                  <c:v>787</c:v>
                </c:pt>
                <c:pt idx="235">
                  <c:v>751</c:v>
                </c:pt>
                <c:pt idx="236">
                  <c:v>761</c:v>
                </c:pt>
                <c:pt idx="237">
                  <c:v>739</c:v>
                </c:pt>
                <c:pt idx="238">
                  <c:v>714</c:v>
                </c:pt>
                <c:pt idx="239">
                  <c:v>686</c:v>
                </c:pt>
                <c:pt idx="240">
                  <c:v>637</c:v>
                </c:pt>
                <c:pt idx="241">
                  <c:v>578</c:v>
                </c:pt>
                <c:pt idx="242">
                  <c:v>556</c:v>
                </c:pt>
                <c:pt idx="243">
                  <c:v>563</c:v>
                </c:pt>
                <c:pt idx="244">
                  <c:v>569</c:v>
                </c:pt>
                <c:pt idx="245">
                  <c:v>549</c:v>
                </c:pt>
                <c:pt idx="246">
                  <c:v>506</c:v>
                </c:pt>
                <c:pt idx="247">
                  <c:v>466</c:v>
                </c:pt>
                <c:pt idx="248">
                  <c:v>443</c:v>
                </c:pt>
                <c:pt idx="249">
                  <c:v>414</c:v>
                </c:pt>
                <c:pt idx="250">
                  <c:v>422</c:v>
                </c:pt>
                <c:pt idx="251">
                  <c:v>427</c:v>
                </c:pt>
                <c:pt idx="252">
                  <c:v>405</c:v>
                </c:pt>
                <c:pt idx="253">
                  <c:v>379</c:v>
                </c:pt>
                <c:pt idx="254">
                  <c:v>362</c:v>
                </c:pt>
                <c:pt idx="255">
                  <c:v>326</c:v>
                </c:pt>
                <c:pt idx="256">
                  <c:v>304</c:v>
                </c:pt>
                <c:pt idx="257">
                  <c:v>2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87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CF10-489E-A6C0-DB50ADA986E8}"/>
                </c:ext>
              </c:extLst>
            </c:dLbl>
            <c:dLbl>
              <c:idx val="206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CF10-489E-A6C0-DB50ADA986E8}"/>
                </c:ext>
              </c:extLst>
            </c:dLbl>
            <c:dLbl>
              <c:idx val="241"/>
              <c:layout>
                <c:manualLayout>
                  <c:x val="2.7240256677620759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59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CF10-489E-A6C0-DB50ADA986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9</c:f>
              <c:numCache>
                <c:formatCode>m/d/yyyy</c:formatCode>
                <c:ptCount val="25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</c:numCache>
            </c:numRef>
          </c:cat>
          <c:val>
            <c:numRef>
              <c:f>Sheet1!$B$2:$B$259</c:f>
              <c:numCache>
                <c:formatCode>#,##0</c:formatCode>
                <c:ptCount val="258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  <c:pt idx="254">
                  <c:v>1577</c:v>
                </c:pt>
                <c:pt idx="255">
                  <c:v>1606</c:v>
                </c:pt>
                <c:pt idx="256">
                  <c:v>1594</c:v>
                </c:pt>
                <c:pt idx="257">
                  <c:v>15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9</c:f>
              <c:numCache>
                <c:formatCode>m/d/yyyy</c:formatCode>
                <c:ptCount val="25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</c:numCache>
            </c:numRef>
          </c:cat>
          <c:val>
            <c:numRef>
              <c:f>Sheet1!$C$2:$C$259</c:f>
              <c:numCache>
                <c:formatCode>General</c:formatCode>
                <c:ptCount val="25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17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7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7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</a:t>
            </a:r>
            <a:r>
              <a:rPr lang="cs-CZ" sz="3600" b="1" i="1"/>
              <a:t>aktualizace 17.05</a:t>
            </a:r>
            <a:r>
              <a:rPr lang="cs-CZ" sz="3600" b="1" i="1" dirty="0"/>
              <a:t>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95607637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89463652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42420144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425390528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9534575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920683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00</TotalTime>
  <Words>1039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Zavřel Michal</cp:lastModifiedBy>
  <cp:revision>674</cp:revision>
  <dcterms:created xsi:type="dcterms:W3CDTF">2020-08-08T14:25:07Z</dcterms:created>
  <dcterms:modified xsi:type="dcterms:W3CDTF">2021-05-17T05:18:10Z</dcterms:modified>
</cp:coreProperties>
</file>